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45"/>
  </p:notesMasterIdLst>
  <p:sldIdLst>
    <p:sldId id="3343" r:id="rId9"/>
    <p:sldId id="2147375036" r:id="rId10"/>
    <p:sldId id="2147375034" r:id="rId11"/>
    <p:sldId id="2147375028" r:id="rId12"/>
    <p:sldId id="2147375033" r:id="rId13"/>
    <p:sldId id="2147375032" r:id="rId14"/>
    <p:sldId id="2147375037" r:id="rId15"/>
    <p:sldId id="2147375039" r:id="rId16"/>
    <p:sldId id="2147375038" r:id="rId17"/>
    <p:sldId id="2147375031" r:id="rId18"/>
    <p:sldId id="2147375035" r:id="rId19"/>
    <p:sldId id="2147375030" r:id="rId20"/>
    <p:sldId id="2147375029" r:id="rId21"/>
    <p:sldId id="3346" r:id="rId22"/>
    <p:sldId id="2145705568" r:id="rId23"/>
    <p:sldId id="2145705566" r:id="rId24"/>
    <p:sldId id="2147375019" r:id="rId25"/>
    <p:sldId id="2147375017" r:id="rId26"/>
    <p:sldId id="2145705874" r:id="rId27"/>
    <p:sldId id="2145705878" r:id="rId28"/>
    <p:sldId id="2145705879" r:id="rId29"/>
    <p:sldId id="2145705900" r:id="rId30"/>
    <p:sldId id="2147375020" r:id="rId31"/>
    <p:sldId id="2145705872" r:id="rId32"/>
    <p:sldId id="2145705907" r:id="rId33"/>
    <p:sldId id="2147375014" r:id="rId34"/>
    <p:sldId id="2145705889" r:id="rId35"/>
    <p:sldId id="2147375021" r:id="rId36"/>
    <p:sldId id="2147375027" r:id="rId37"/>
    <p:sldId id="2147375000" r:id="rId38"/>
    <p:sldId id="2147375004" r:id="rId39"/>
    <p:sldId id="2147375005" r:id="rId40"/>
    <p:sldId id="2147375006" r:id="rId41"/>
    <p:sldId id="2147375007" r:id="rId42"/>
    <p:sldId id="2147375025" r:id="rId43"/>
    <p:sldId id="2147375026" r:id="rId4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32FF"/>
    <a:srgbClr val="002E3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61"/>
    <p:restoredTop sz="94748"/>
  </p:normalViewPr>
  <p:slideViewPr>
    <p:cSldViewPr snapToGrid="0">
      <p:cViewPr varScale="1">
        <p:scale>
          <a:sx n="109" d="100"/>
          <a:sy n="109" d="100"/>
        </p:scale>
        <p:origin x="184" y="4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commentAuthors" Target="commentAuthor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3/1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37567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223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8640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5773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96807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198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42035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7977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3508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09830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369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34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78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8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86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7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88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emf"/><Relationship Id="rId2" Type="http://schemas.openxmlformats.org/officeDocument/2006/relationships/image" Target="../media/image89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7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2" Type="http://schemas.openxmlformats.org/officeDocument/2006/relationships/image" Target="../media/image91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emf"/><Relationship Id="rId2" Type="http://schemas.openxmlformats.org/officeDocument/2006/relationships/image" Target="../media/image93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emf"/><Relationship Id="rId2" Type="http://schemas.openxmlformats.org/officeDocument/2006/relationships/image" Target="../media/image95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9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9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0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8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emf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10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109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1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9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80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Mar 13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3</a:t>
            </a:r>
            <a:r>
              <a:rPr lang="en-US" sz="3600" b="1" baseline="30000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d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for HTT Splicing Enhancers</a:t>
            </a:r>
          </a:p>
          <a:p>
            <a:pPr algn="ctr"/>
            <a:endParaRPr lang="en-US" sz="3600" b="1" dirty="0">
              <a:solidFill>
                <a:schemeClr val="tx2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0165310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478A4858-C293-1DCB-A5E0-3B63DBA78C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8718" y="1118338"/>
            <a:ext cx="5378824" cy="412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19821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625F07-A3CD-7A1B-CD7C-AD67FA01B83C}"/>
              </a:ext>
            </a:extLst>
          </p:cNvPr>
          <p:cNvSpPr txBox="1"/>
          <p:nvPr/>
        </p:nvSpPr>
        <p:spPr>
          <a:xfrm>
            <a:off x="3048000" y="324796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F0502020204030204" pitchFamily="34" charset="0"/>
              </a:rPr>
              <a:t>[NGS One]/TST12086: </a:t>
            </a:r>
          </a:p>
          <a:p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Data for TST12086 is ready.</a:t>
            </a:r>
          </a:p>
          <a:p>
            <a:endParaRPr lang="en-US" dirty="0">
              <a:solidFill>
                <a:srgbClr val="202020"/>
              </a:solidFill>
              <a:latin typeface="Helvetica" pitchFamily="2" charset="0"/>
            </a:endParaRPr>
          </a:p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Ravi Teja</a:t>
            </a:r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822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EFF3BCFC-1EED-360D-D295-764634C429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929" y="3560535"/>
            <a:ext cx="5461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77092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457446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53863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Puu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</a:rPr>
                        <a:t>BENCHMARK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6D3355B7-CDF0-8280-B1EA-35938AABB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B7380893-B9CD-2CD5-7887-8E980358A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807DED8-D364-3ADA-421A-B076E565AA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546" y="1281847"/>
            <a:ext cx="5428007" cy="3453272"/>
          </a:xfrm>
          <a:prstGeom prst="rect">
            <a:avLst/>
          </a:prstGeom>
        </p:spPr>
      </p:pic>
      <p:pic>
        <p:nvPicPr>
          <p:cNvPr id="5" name="Picture 4" descr="Graphical user interface, chart, application, Excel&#10;&#10;Description automatically generated">
            <a:extLst>
              <a:ext uri="{FF2B5EF4-FFF2-40B4-BE49-F238E27FC236}">
                <a16:creationId xmlns:a16="http://schemas.microsoft.com/office/drawing/2014/main" id="{BE280841-9C5E-BBCE-4B20-D73CA2A3B2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553" y="1281847"/>
            <a:ext cx="6486214" cy="345327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8C5F217-8528-A61A-5036-89799B0BD57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all sample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393599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>
            <a:cxnSpLocks/>
          </p:cNvCxnSpPr>
          <p:nvPr/>
        </p:nvCxnSpPr>
        <p:spPr>
          <a:xfrm flipV="1">
            <a:off x="5557157" y="2873829"/>
            <a:ext cx="0" cy="29943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>
            <a:cxnSpLocks/>
          </p:cNvCxnSpPr>
          <p:nvPr/>
        </p:nvCxnSpPr>
        <p:spPr>
          <a:xfrm flipV="1">
            <a:off x="10624830" y="2914095"/>
            <a:ext cx="0" cy="30750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09956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4CFEEFBB-CAC1-5EEB-B871-6CABC12010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7A744C4-41FA-3298-9BD7-8E9AA162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90329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8F0513F2-3793-8396-C53E-96F78D601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915069F-53C3-4BF8-2299-5489A09953E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30"/>
          <a:stretch/>
        </p:blipFill>
        <p:spPr>
          <a:xfrm>
            <a:off x="652049" y="1162739"/>
            <a:ext cx="4941928" cy="4532522"/>
          </a:xfrm>
          <a:prstGeom prst="rect">
            <a:avLst/>
          </a:prstGeom>
        </p:spPr>
      </p:pic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A4456FBC-BE1E-1B7D-C401-F3F54CE1DF7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11" r="2326" b="16250"/>
          <a:stretch/>
        </p:blipFill>
        <p:spPr>
          <a:xfrm>
            <a:off x="6306670" y="1162739"/>
            <a:ext cx="5634317" cy="463564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DA6B3EA-5E54-928E-FD31-0C1186F70EA4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iPSC samples</a:t>
            </a:r>
            <a:endParaRPr lang="en-US" sz="60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809006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11872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72B76D-48FF-D4B8-9080-58E1A231166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NGN2 samples</a:t>
            </a:r>
            <a:endParaRPr lang="en-US" sz="60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pic>
        <p:nvPicPr>
          <p:cNvPr id="10" name="Picture 9" descr="Chart, scatter chart&#10;&#10;Description automatically generated">
            <a:extLst>
              <a:ext uri="{FF2B5EF4-FFF2-40B4-BE49-F238E27FC236}">
                <a16:creationId xmlns:a16="http://schemas.microsoft.com/office/drawing/2014/main" id="{DF9B9CC8-AE96-EF5D-43AD-F43B7B9F1E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05748"/>
            <a:ext cx="6037730" cy="3456214"/>
          </a:xfrm>
          <a:prstGeom prst="rect">
            <a:avLst/>
          </a:prstGeom>
        </p:spPr>
      </p:pic>
      <p:pic>
        <p:nvPicPr>
          <p:cNvPr id="16" name="Picture 15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E120176A-3A1B-50C7-31A2-9C49414752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4270" y="1605747"/>
            <a:ext cx="6037730" cy="4660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58540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E8586E67-544B-D162-8388-83761169F0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95" y="1089213"/>
            <a:ext cx="10094421" cy="473336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8C4687E-9253-A31D-0FA8-9C58CE3890B6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Sy5Y samples</a:t>
            </a:r>
            <a:endParaRPr lang="en-US" sz="60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010856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CE3A13C3-D526-8FCD-8ABF-DB42A8D560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8012" y="783884"/>
            <a:ext cx="5957047" cy="60931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57E2E21-B133-25D9-7D45-0AAFF7792290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CE3A13C3-D526-8FCD-8ABF-DB42A8D560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6517" y="684732"/>
            <a:ext cx="5957047" cy="60931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57E2E21-B133-25D9-7D45-0AAFF7792290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201A04E-DB45-5AB7-8A2C-D9991D5CA786}"/>
              </a:ext>
            </a:extLst>
          </p:cNvPr>
          <p:cNvSpPr/>
          <p:nvPr/>
        </p:nvSpPr>
        <p:spPr>
          <a:xfrm>
            <a:off x="1729648" y="936434"/>
            <a:ext cx="8505022" cy="17957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94B10F-603D-441C-997C-B6CB969EA32B}"/>
              </a:ext>
            </a:extLst>
          </p:cNvPr>
          <p:cNvSpPr/>
          <p:nvPr/>
        </p:nvSpPr>
        <p:spPr>
          <a:xfrm>
            <a:off x="1729647" y="4125819"/>
            <a:ext cx="8505021" cy="1795748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0FFEAAE-795F-32C8-0450-E7D0230F4D65}"/>
              </a:ext>
            </a:extLst>
          </p:cNvPr>
          <p:cNvSpPr/>
          <p:nvPr/>
        </p:nvSpPr>
        <p:spPr>
          <a:xfrm>
            <a:off x="1729647" y="2732184"/>
            <a:ext cx="8505020" cy="1393634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82799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CE3A13C3-D526-8FCD-8ABF-DB42A8D560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34" y="684732"/>
            <a:ext cx="5957047" cy="60931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57E2E21-B133-25D9-7D45-0AAFF7792290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201A04E-DB45-5AB7-8A2C-D9991D5CA786}"/>
              </a:ext>
            </a:extLst>
          </p:cNvPr>
          <p:cNvSpPr/>
          <p:nvPr/>
        </p:nvSpPr>
        <p:spPr>
          <a:xfrm>
            <a:off x="247973" y="936434"/>
            <a:ext cx="5269424" cy="17957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94B10F-603D-441C-997C-B6CB969EA32B}"/>
              </a:ext>
            </a:extLst>
          </p:cNvPr>
          <p:cNvSpPr/>
          <p:nvPr/>
        </p:nvSpPr>
        <p:spPr>
          <a:xfrm>
            <a:off x="247972" y="4125819"/>
            <a:ext cx="5269423" cy="1795748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0FFEAAE-795F-32C8-0450-E7D0230F4D65}"/>
              </a:ext>
            </a:extLst>
          </p:cNvPr>
          <p:cNvSpPr/>
          <p:nvPr/>
        </p:nvSpPr>
        <p:spPr>
          <a:xfrm>
            <a:off x="247972" y="2732184"/>
            <a:ext cx="5269423" cy="1393634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Graphical user interface&#10;&#10;Description automatically generated">
            <a:extLst>
              <a:ext uri="{FF2B5EF4-FFF2-40B4-BE49-F238E27FC236}">
                <a16:creationId xmlns:a16="http://schemas.microsoft.com/office/drawing/2014/main" id="{1F3DB040-81C7-C24C-581D-B4B53EAE08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6571" y="2495991"/>
            <a:ext cx="6457095" cy="1649318"/>
          </a:xfrm>
          <a:prstGeom prst="rect">
            <a:avLst/>
          </a:prstGeom>
        </p:spPr>
      </p:pic>
      <p:pic>
        <p:nvPicPr>
          <p:cNvPr id="12" name="Picture 11" descr="Graphical user interface&#10;&#10;Description automatically generated">
            <a:extLst>
              <a:ext uri="{FF2B5EF4-FFF2-40B4-BE49-F238E27FC236}">
                <a16:creationId xmlns:a16="http://schemas.microsoft.com/office/drawing/2014/main" id="{944B0169-AD89-3EE6-F9F4-2C395895E2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4872930"/>
            <a:ext cx="4520339" cy="1905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2BF25D1-8CA7-2FC2-B603-E2590D3612D8}"/>
              </a:ext>
            </a:extLst>
          </p:cNvPr>
          <p:cNvSpPr txBox="1"/>
          <p:nvPr/>
        </p:nvSpPr>
        <p:spPr>
          <a:xfrm>
            <a:off x="7391340" y="1857845"/>
            <a:ext cx="27669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% subse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4C8FDF-6821-9E53-4F8F-EFA0AE8B5204}"/>
              </a:ext>
            </a:extLst>
          </p:cNvPr>
          <p:cNvSpPr txBox="1"/>
          <p:nvPr/>
        </p:nvSpPr>
        <p:spPr>
          <a:xfrm>
            <a:off x="7280269" y="4229457"/>
            <a:ext cx="27669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% subset</a:t>
            </a:r>
          </a:p>
        </p:txBody>
      </p:sp>
    </p:spTree>
    <p:extLst>
      <p:ext uri="{BB962C8B-B14F-4D97-AF65-F5344CB8AC3E}">
        <p14:creationId xmlns:p14="http://schemas.microsoft.com/office/powerpoint/2010/main" val="359285095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CE3A13C3-D526-8FCD-8ABF-DB42A8D560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150" y="764802"/>
            <a:ext cx="4826270" cy="4936577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57E2E21-B133-25D9-7D45-0AAFF7792290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77CF4E9B-6419-BDF9-7CAC-6EB8C6BF49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6038" y="783884"/>
            <a:ext cx="4456496" cy="506449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65D2D91-0D87-59CF-56CD-C3E86C938A34}"/>
              </a:ext>
            </a:extLst>
          </p:cNvPr>
          <p:cNvSpPr txBox="1"/>
          <p:nvPr/>
        </p:nvSpPr>
        <p:spPr>
          <a:xfrm>
            <a:off x="1564155" y="5663711"/>
            <a:ext cx="4162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 Treatment vs 3 Control Sample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66930F-7270-8965-113F-BE125D306C80}"/>
              </a:ext>
            </a:extLst>
          </p:cNvPr>
          <p:cNvSpPr txBox="1"/>
          <p:nvPr/>
        </p:nvSpPr>
        <p:spPr>
          <a:xfrm>
            <a:off x="7020075" y="5663711"/>
            <a:ext cx="5252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ll </a:t>
            </a:r>
            <a:r>
              <a:rPr lang="en-US" dirty="0" err="1"/>
              <a:t>avalaible</a:t>
            </a:r>
            <a:r>
              <a:rPr lang="en-US" dirty="0"/>
              <a:t> Treatment vs 4 Control Samples </a:t>
            </a:r>
          </a:p>
        </p:txBody>
      </p:sp>
    </p:spTree>
    <p:extLst>
      <p:ext uri="{BB962C8B-B14F-4D97-AF65-F5344CB8AC3E}">
        <p14:creationId xmlns:p14="http://schemas.microsoft.com/office/powerpoint/2010/main" val="375109428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32498</TotalTime>
  <Words>1161</Words>
  <Application>Microsoft Macintosh PowerPoint</Application>
  <PresentationFormat>Widescreen</PresentationFormat>
  <Paragraphs>417</Paragraphs>
  <Slides>36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6</vt:i4>
      </vt:variant>
    </vt:vector>
  </HeadingPairs>
  <TitlesOfParts>
    <vt:vector size="57" baseType="lpstr">
      <vt:lpstr>System Font Regular</vt:lpstr>
      <vt:lpstr>Arial</vt:lpstr>
      <vt:lpstr>Arial Narrow</vt:lpstr>
      <vt:lpstr>Calibri</vt:lpstr>
      <vt:lpstr>Century Gothic</vt:lpstr>
      <vt:lpstr>Helvetica</vt:lpstr>
      <vt:lpstr>Helvetica Neue</vt:lpstr>
      <vt:lpstr>Menlo</vt:lpstr>
      <vt:lpstr>Segoe UI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64</cp:revision>
  <dcterms:created xsi:type="dcterms:W3CDTF">2021-06-27T14:47:41Z</dcterms:created>
  <dcterms:modified xsi:type="dcterms:W3CDTF">2023-03-20T13:51:38Z</dcterms:modified>
</cp:coreProperties>
</file>